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213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9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9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0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630118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5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Andrew Fulton </a:t>
            </a:r>
            <a:r>
              <a:rPr lang="en-US" sz="4000" dirty="0"/>
              <a:t>– Key Exper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0918"/>
            <a:ext cx="3590369" cy="1446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drew has a </a:t>
            </a:r>
            <a:r>
              <a:rPr lang="en-US" sz="1200" dirty="0">
                <a:solidFill>
                  <a:srgbClr val="FF0000"/>
                </a:solidFill>
              </a:rPr>
              <a:t>BA in International Relations (Politics)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University of Toronto - Victoria University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as a </a:t>
            </a:r>
            <a:r>
              <a:rPr lang="en-US" sz="1200" dirty="0">
                <a:solidFill>
                  <a:srgbClr val="FF0000"/>
                </a:solidFill>
              </a:rPr>
              <a:t>Master of Business Administration (MBA)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University of Washington </a:t>
            </a:r>
            <a:r>
              <a:rPr lang="en-US" sz="1200" dirty="0">
                <a:solidFill>
                  <a:prstClr val="black"/>
                </a:solidFill>
              </a:rPr>
              <a:t>(USA)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drew also has a </a:t>
            </a:r>
            <a:r>
              <a:rPr lang="en-US" sz="1200" dirty="0">
                <a:solidFill>
                  <a:srgbClr val="FF0000"/>
                </a:solidFill>
              </a:rPr>
              <a:t>Master of Business Administration (MBA)</a:t>
            </a:r>
            <a:r>
              <a:rPr lang="en-US" sz="1200" dirty="0">
                <a:solidFill>
                  <a:prstClr val="black"/>
                </a:solidFill>
              </a:rPr>
              <a:t> from </a:t>
            </a:r>
            <a:r>
              <a:rPr lang="en-US" sz="1200" dirty="0">
                <a:solidFill>
                  <a:srgbClr val="FF0000"/>
                </a:solidFill>
              </a:rPr>
              <a:t>University of Cape Town, Graduate School of Business</a:t>
            </a:r>
            <a:r>
              <a:rPr lang="en-US" sz="1200" dirty="0">
                <a:solidFill>
                  <a:prstClr val="black"/>
                </a:solidFill>
              </a:rPr>
              <a:t> (South Africa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4462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…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17081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16 years as Co-Owner at Eighty20 Consulting </a:t>
            </a:r>
            <a:r>
              <a:rPr lang="en-US" sz="1200" dirty="0"/>
              <a:t>(South Africa). Eighty20 is a consultancy specializing in delivering customer centric strategies and solution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0000"/>
                </a:solidFill>
              </a:rPr>
              <a:t>Adjunct Lecturer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Graduate School of Busines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Gordon Institute of Business Science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University of Cape Tow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University of Stellenbosch</a:t>
            </a:r>
          </a:p>
        </p:txBody>
      </p:sp>
      <p:sp>
        <p:nvSpPr>
          <p:cNvPr id="25" name="Rectangle: Single Corner Rounded 24">
            <a:extLst>
              <a:ext uri="{FF2B5EF4-FFF2-40B4-BE49-F238E27FC236}">
                <a16:creationId xmlns:a16="http://schemas.microsoft.com/office/drawing/2014/main" id="{B1081F4D-78CA-4D3A-8CCD-B6FCA2EE3701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56A5C28D-C584-4E00-9C1A-87C143B928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CDFCDB0D-2B0E-44DC-83A0-88511A00BE9C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A2F9661-3364-4B0A-9617-489C1BF4F3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CF794189-3FAB-4D59-BB0E-F03ECB86E16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46DAB09-6CDB-4E98-82BA-B21A2368FCD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DF644D9-4D39-D340-99A1-44AACDE54F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54584144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74</TotalTime>
  <Words>114</Words>
  <Application>Microsoft Macintosh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ndrew Fulton – Key Exp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657</cp:revision>
  <dcterms:created xsi:type="dcterms:W3CDTF">2020-03-25T12:28:14Z</dcterms:created>
  <dcterms:modified xsi:type="dcterms:W3CDTF">2020-10-29T15:10:52Z</dcterms:modified>
</cp:coreProperties>
</file>